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5"/>
  </p:notesMasterIdLst>
  <p:sldIdLst>
    <p:sldId id="3284" r:id="rId5"/>
    <p:sldId id="2569" r:id="rId6"/>
    <p:sldId id="3275" r:id="rId7"/>
    <p:sldId id="2542" r:id="rId8"/>
    <p:sldId id="3277" r:id="rId9"/>
    <p:sldId id="3283" r:id="rId10"/>
    <p:sldId id="3285" r:id="rId11"/>
    <p:sldId id="3288" r:id="rId12"/>
    <p:sldId id="3289" r:id="rId13"/>
    <p:sldId id="2558" r:id="rId14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13"/>
    <p:restoredTop sz="95788"/>
  </p:normalViewPr>
  <p:slideViewPr>
    <p:cSldViewPr snapToGrid="0">
      <p:cViewPr varScale="1">
        <p:scale>
          <a:sx n="143" d="100"/>
          <a:sy n="143" d="100"/>
        </p:scale>
        <p:origin x="704" y="192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04.11.20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39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004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78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8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3. Nov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846659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Grundsätze für die Erstellung einer digitalen UI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Funktion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r>
              <a:rPr lang="de-DE" sz="1400" dirty="0"/>
              <a:t> und Vorstellungsrund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orstellung Ausgangslag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ground des </a:t>
            </a:r>
            <a:r>
              <a:rPr lang="de-DE" sz="1400" dirty="0" err="1"/>
              <a:t>Gesprächpartners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ktuelle Bedarfskalkulation im Betrieb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erbesserungspotenziale aktuelle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isualisierung der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eitere Aspekte eines Bedarfsplanungstool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5-20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BACKGROUND DES GESPRÄCHPARTNER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lange arbeiten Sie schon in der Gastronomie / in Ihrem Betrieb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sind ihre Aufgaben (neben dem eigentlichen Kochen)?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hört der Einkauf / Bedarfsplanung zu Ihrem Tätigkeitsbereich?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Verständnis über die Historie, die Erfahrung und die Position der Person in der Organisation erlangen 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KTUELLE BEDARFSKALKULATION IM BETRIEB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ie aktuelle Bedarfsplanung der Gerichte / Lebensmittel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er Prozess der Bedarfsplanung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Gibt es aktuell eine Übersicht auf der ersichtlich ist, was und in welcher Menge eingekauft werden muss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weiteren Informationen sind wichtig bei der Bedarfsplanung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weiteren Elemente sind für eine Bedarfsplanung unbedingt zu beachten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aktuelle Bedarfsplanung und den Einkauf der verschiedenen Gerichte erlangen  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ERBESSERUNGSPOTENZIALE AKTUELLE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ist aktuell verbesserungswürdig an der Bedarfsplanung?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könnte in Ihrer Bedarfsplanung einfacher gestaltet sein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Wünsche, Anregungen, Verbesserungspotenzial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Den optimalen Prozess einer bedürfnisgerechten Bedarfsplanung eruieren</a:t>
            </a:r>
          </a:p>
        </p:txBody>
      </p:sp>
    </p:spTree>
    <p:extLst>
      <p:ext uri="{BB962C8B-B14F-4D97-AF65-F5344CB8AC3E}">
        <p14:creationId xmlns:p14="http://schemas.microsoft.com/office/powerpoint/2010/main" val="136326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ISUALISIERUNG DER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894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st es für Sie entscheidender, eine Erklärung über die Funktionsweise des Algorithmus zu erhalten, oder eine die die aktuell ausgesprochene Empfehlung erklärt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Informationen müssen auf einer Visualisierung zur Bedarfsplanung integriert sein?</a:t>
            </a:r>
          </a:p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</a:rPr>
              <a:t>	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muss die Visualisierung gestaltet sein, damit sie am meisten Wert stiftet? (Beispiele zeigen)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(visuellen) Elemente dürfen auf einer Benutzeroberfläche zur Bedarfsplanung nicht fehlen?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Gibt es bestimmte Vorlieben über die Art der Visualisierung oder andere Bedürfnisse die Sie noch gerne ergänzen möchten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Nutzung eines nutzerfreundlichen und einfach verständlichen Visualisierung erlangen</a:t>
            </a:r>
          </a:p>
        </p:txBody>
      </p:sp>
    </p:spTree>
    <p:extLst>
      <p:ext uri="{BB962C8B-B14F-4D97-AF65-F5344CB8AC3E}">
        <p14:creationId xmlns:p14="http://schemas.microsoft.com/office/powerpoint/2010/main" val="86689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WEITERE ASPEKTE EINES BEDARFSPLANUNGSTOOLS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744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wichtig ist Ihnen, dass Sie die Vorschläge des Tools nachvollziehen können?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Elemente müsste ein solches Tool aufweisen, damit Sie den Empfehlung dessen vertrauen können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äre eine interaktive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Wha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If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…“ Funktion hilfreich, die unterschiedliche Szenarios simulieren kann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wiefern müssten verschiedene Zeithorizonte betrachtet werden, da sich Lebensmittel unterschiedlich lange halten oder aufgrund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Nachfrageschwankungen etc.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uss man einzelne Gerichte oder andere Faktoren ausklammern können bspw. (Ausklammern von bestimmten Lebensmitteln aufgrund Allergien oder Geschmacksvorlieben, bei saisonalen Gerichten etc.)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äre es hilfreich, wenn Empfehlungen im Sinne eines „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Recommender</a:t>
            </a: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 Systems“, welche Vorschläge zu anderen Gerichten gibt, integriert sind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weiteren Funktionen müsste ein Tool zur Bedarfsplanung von Gerichten aufweisen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Probleme und Limitationen der Datennutzung verstehen.</a:t>
            </a:r>
          </a:p>
        </p:txBody>
      </p:sp>
    </p:spTree>
    <p:extLst>
      <p:ext uri="{BB962C8B-B14F-4D97-AF65-F5344CB8AC3E}">
        <p14:creationId xmlns:p14="http://schemas.microsoft.com/office/powerpoint/2010/main" val="2346587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IESSENDE FRAGEN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bei Ihnen im Unternehmen irgendwelche Tools oder Applikationen die mit Maschine Learning oder KI </a:t>
            </a:r>
            <a:r>
              <a:rPr lang="de-DE" sz="1400">
                <a:solidFill>
                  <a:schemeClr val="tx1"/>
                </a:solidFill>
                <a:latin typeface="Calibri"/>
                <a:cs typeface="Calibri"/>
              </a:rPr>
              <a:t>arbeiten?</a:t>
            </a: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Sonstige Fragen zum Thema klären.</a:t>
            </a:r>
          </a:p>
        </p:txBody>
      </p:sp>
    </p:spTree>
    <p:extLst>
      <p:ext uri="{BB962C8B-B14F-4D97-AF65-F5344CB8AC3E}">
        <p14:creationId xmlns:p14="http://schemas.microsoft.com/office/powerpoint/2010/main" val="315678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587</Words>
  <Application>Microsoft Macintosh PowerPoint</Application>
  <PresentationFormat>Bildschirmpräsentation (16:9)</PresentationFormat>
  <Paragraphs>102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22</cp:revision>
  <cp:lastPrinted>2020-03-29T12:41:23Z</cp:lastPrinted>
  <dcterms:created xsi:type="dcterms:W3CDTF">2019-10-08T08:06:46Z</dcterms:created>
  <dcterms:modified xsi:type="dcterms:W3CDTF">2020-11-04T10:2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